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3/12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0003_f_Spur_gear</a:t>
            </a:r>
            <a:r>
              <a:rPr lang="de-DE" dirty="0"/>
              <a:t>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3_Spur_gea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dirty="0"/>
              <a:t>This function calculates the gear ratio of a spur gear pair depending on the number of teeth of the two gears.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9889F537-05BA-4B17-B678-D1AD8911C132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59450" y="2913856"/>
            <a:ext cx="3086100" cy="1400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3_Spur_gea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umber of teet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12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11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A4-Papier (210 x 297 mm)</PresentationFormat>
  <Paragraphs>6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3_Spur_gear</vt:lpstr>
      <vt:lpstr>M0003_Spur_gea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33</cp:revision>
  <dcterms:created xsi:type="dcterms:W3CDTF">2020-02-28T15:45:41Z</dcterms:created>
  <dcterms:modified xsi:type="dcterms:W3CDTF">2020-12-23T08:32:27Z</dcterms:modified>
</cp:coreProperties>
</file>